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6" d="100"/>
          <a:sy n="66" d="100"/>
        </p:scale>
        <p:origin x="668" y="32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04/11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04/11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hyperlink" Target="mailto:deviprasad.vinodkumar-pandey@capgemini.com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in.linkedin.com/in/deviprasadp2004" TargetMode="External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hyperlink" Target="https://github.com/Deviprasad-Pande/FinalFarmScheme" TargetMode="External"/><Relationship Id="rId9" Type="http://schemas.openxmlformats.org/officeDocument/2006/relationships/hyperlink" Target="https://drive.google.com/file/d/1A9NQbVO5nib9Zn9N5nUOnxJhs78-sDEy/view?usp=shar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4008437" cy="3621087"/>
          </a:xfrm>
        </p:spPr>
        <p:txBody>
          <a:bodyPr/>
          <a:lstStyle/>
          <a:p>
            <a:pPr eaLnBrk="1" hangingPunct="1">
              <a:lnSpc>
                <a:spcPct val="114000"/>
              </a:lnSpc>
            </a:pPr>
            <a:endParaRPr lang="en-US" altLang="en-US" sz="1200" dirty="0"/>
          </a:p>
          <a:p>
            <a:pPr eaLnBrk="1" hangingPunct="1">
              <a:lnSpc>
                <a:spcPct val="114000"/>
              </a:lnSpc>
            </a:pPr>
            <a:r>
              <a:rPr lang="en-US" altLang="en-US" b="1" dirty="0"/>
              <a:t>Farm Schem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/>
              <a:t>Created e-commerce website which provides an opportunity to streamline the agricultural value chain and reduce inefficiencies in the distribution of farm produce. (</a:t>
            </a:r>
            <a:r>
              <a:rPr lang="en-US" altLang="en-US" sz="1200" dirty="0" err="1"/>
              <a:t>DotNet</a:t>
            </a:r>
            <a:r>
              <a:rPr lang="en-US" altLang="en-US" sz="1200" dirty="0"/>
              <a:t>)</a:t>
            </a:r>
          </a:p>
          <a:p>
            <a:pPr eaLnBrk="1" hangingPunct="1">
              <a:lnSpc>
                <a:spcPct val="114000"/>
              </a:lnSpc>
            </a:pPr>
            <a:endParaRPr lang="en-US" altLang="en-US" sz="1200" dirty="0"/>
          </a:p>
          <a:p>
            <a:pPr eaLnBrk="1" hangingPunct="1">
              <a:lnSpc>
                <a:spcPct val="114000"/>
              </a:lnSpc>
            </a:pPr>
            <a:r>
              <a:rPr lang="en-US" altLang="en-US" sz="1200" dirty="0"/>
              <a:t>.</a:t>
            </a:r>
          </a:p>
          <a:p>
            <a:pPr eaLnBrk="1" hangingPunct="1">
              <a:lnSpc>
                <a:spcPct val="114000"/>
              </a:lnSpc>
            </a:pPr>
            <a:endParaRPr lang="en-US" altLang="nl-NL" sz="1200" b="1" dirty="0"/>
          </a:p>
          <a:p>
            <a:pPr eaLnBrk="1" hangingPunct="1">
              <a:lnSpc>
                <a:spcPct val="114000"/>
              </a:lnSpc>
            </a:pPr>
            <a:endParaRPr lang="en-US" altLang="nl-NL" sz="1200" b="1" dirty="0"/>
          </a:p>
          <a:p>
            <a:pPr eaLnBrk="1" hangingPunct="1">
              <a:lnSpc>
                <a:spcPct val="114000"/>
              </a:lnSpc>
            </a:pPr>
            <a:endParaRPr lang="en-IN" altLang="nl-NL" sz="14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5163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49663" y="1346796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Pune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45644" y="1579168"/>
            <a:ext cx="4146500" cy="185141"/>
          </a:xfrm>
        </p:spPr>
        <p:txBody>
          <a:bodyPr/>
          <a:lstStyle/>
          <a:p>
            <a:pPr eaLnBrk="1" hangingPunct="1"/>
            <a:r>
              <a:rPr lang="nl-NL" altLang="nl-NL" dirty="0">
                <a:hlinkClick r:id="rId3"/>
              </a:rPr>
              <a:t>deviprasad.vinodkumar-pandey@capgemini.com </a:t>
            </a:r>
            <a:endParaRPr lang="nl-NL" altLang="nl-NL" dirty="0"/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28989" y="1825625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8668705176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2588" y="2995613"/>
            <a:ext cx="4057650" cy="362108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TNET Develop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nds on experience in creating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croservic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ith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#,ASP.NET MVC Framework ,HTML5,CSS and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ql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Serve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  <a:sym typeface="+mn-ea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Proficient in creating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Single page Web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 Application in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ASP.NET WEB APPLICATIO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 with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MVC ,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Authentication and  routing.</a:t>
            </a:r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Hands on experience in developing web pages using 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HTML5, CSS3, Object Oriented Java scrip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  <a:sym typeface="+mn-ea"/>
              </a:rPr>
              <a:t>. Good understanding of Document Object Model (DOM) and DOM Functions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endParaRPr lang="en-US" altLang="nl-NL" dirty="0"/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 err="1"/>
              <a:t>Deviprasad</a:t>
            </a:r>
            <a:r>
              <a:rPr lang="en-IN" altLang="en-US" dirty="0"/>
              <a:t> Pandey</a:t>
            </a:r>
          </a:p>
        </p:txBody>
      </p:sp>
      <p:pic>
        <p:nvPicPr>
          <p:cNvPr id="7179" name="Picture 7">
            <a:hlinkClick r:id="rId4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3755654" y="6195358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2959" y="6357018"/>
            <a:ext cx="345864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kumimoji="0" lang="en-I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heck out my work on GitHub &amp; Video Profile</a:t>
            </a:r>
          </a:p>
          <a:p>
            <a:endParaRPr lang="en-IN" altLang="en-US" sz="1100" dirty="0"/>
          </a:p>
        </p:txBody>
      </p:sp>
      <p:pic>
        <p:nvPicPr>
          <p:cNvPr id="7182" name="Picture 4" descr="Free icon download | Linkedin">
            <a:hlinkClick r:id="rId6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550" y="1608138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2334" y="1947863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19AF993-554E-4BA2-BB57-9D9A9D50FF61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" r="61"/>
          <a:stretch/>
        </p:blipFill>
        <p:spPr>
          <a:xfrm>
            <a:off x="338604" y="156672"/>
            <a:ext cx="1734208" cy="1735628"/>
          </a:xfrm>
        </p:spPr>
      </p:pic>
      <p:pic>
        <p:nvPicPr>
          <p:cNvPr id="15" name="Picture 6" descr="Movie, play, video icon">
            <a:hlinkClick r:id="rId9"/>
            <a:extLst>
              <a:ext uri="{FF2B5EF4-FFF2-40B4-BE49-F238E27FC236}">
                <a16:creationId xmlns:a16="http://schemas.microsoft.com/office/drawing/2014/main" id="{71BCEFC8-ADF1-44CA-8085-C7B89A6907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975" y="6192837"/>
            <a:ext cx="473075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5A1F574-2755-4234-959A-EB7BFC6513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673822"/>
              </p:ext>
            </p:extLst>
          </p:nvPr>
        </p:nvGraphicFramePr>
        <p:xfrm>
          <a:off x="9271949" y="1736058"/>
          <a:ext cx="2955923" cy="4620961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880291">
                  <a:extLst>
                    <a:ext uri="{9D8B030D-6E8A-4147-A177-3AD203B41FA5}">
                      <a16:colId xmlns:a16="http://schemas.microsoft.com/office/drawing/2014/main" val="2197752441"/>
                    </a:ext>
                  </a:extLst>
                </a:gridCol>
                <a:gridCol w="2075632">
                  <a:extLst>
                    <a:ext uri="{9D8B030D-6E8A-4147-A177-3AD203B41FA5}">
                      <a16:colId xmlns:a16="http://schemas.microsoft.com/office/drawing/2014/main" val="3265430380"/>
                    </a:ext>
                  </a:extLst>
                </a:gridCol>
              </a:tblGrid>
              <a:tr h="521698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C#</a:t>
                      </a: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700" b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C# Basics, OOPS, Generics, Collections, Arrays, Loops, Lambda exp , Delegates and evets, File IO  and serializ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1013114"/>
                  </a:ext>
                </a:extLst>
              </a:tr>
              <a:tr h="4446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ASP.NET</a:t>
                      </a: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Fundamentals of ASP.NET,ASP.NET MVC Framework  , Routing , Code First Approach and Data first approa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226159"/>
                  </a:ext>
                </a:extLst>
              </a:tr>
              <a:tr h="6615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en-US" sz="8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LINQ</a:t>
                      </a:r>
                    </a:p>
                    <a:p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700" dirty="0">
                          <a:solidFill>
                            <a:schemeClr val="tx1"/>
                          </a:solidFill>
                        </a:rPr>
                        <a:t>Introduction to LINQ, LINQ Syntax, Query Operators, Aggregate  Func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5156265"/>
                  </a:ext>
                </a:extLst>
              </a:tr>
              <a:tr h="521016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Entity Framewor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700" dirty="0">
                          <a:solidFill>
                            <a:schemeClr val="tx1"/>
                          </a:solidFill>
                        </a:rPr>
                        <a:t>Overview of ORM Products, Basics of Entity Framework, LINQ to Entities to Perform Curd Oper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4852602"/>
                  </a:ext>
                </a:extLst>
              </a:tr>
              <a:tr h="679913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ADO.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ADO.NET Connected and Disconnected Architecture, DB Connectivity Architecture, </a:t>
                      </a:r>
                    </a:p>
                    <a:p>
                      <a:r>
                        <a:rPr kumimoji="0" lang="en-US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Data Set and Data Reader clas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4562979"/>
                  </a:ext>
                </a:extLst>
              </a:tr>
              <a:tr h="381898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Sql Ser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2131711"/>
                  </a:ext>
                </a:extLst>
              </a:tr>
              <a:tr h="523062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UI 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7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TML 5 &amp; CSS 3,JavaScript  and Bootstra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4601529"/>
                  </a:ext>
                </a:extLst>
              </a:tr>
              <a:tr h="365530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G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729789"/>
                  </a:ext>
                </a:extLst>
              </a:tr>
              <a:tr h="521698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Add On skil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7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 Peer lear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8172850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66FECFD4-B4BE-48F6-B788-39DDD6182472}"/>
              </a:ext>
            </a:extLst>
          </p:cNvPr>
          <p:cNvSpPr txBox="1"/>
          <p:nvPr/>
        </p:nvSpPr>
        <p:spPr>
          <a:xfrm>
            <a:off x="9373386" y="574538"/>
            <a:ext cx="3096541" cy="1373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Zeal College </a:t>
            </a:r>
            <a:r>
              <a:rPr kumimoji="0" lang="en-US" altLang="nl-NL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of </a:t>
            </a: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Engineering and Research 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omputer </a:t>
            </a: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Engineering</a:t>
            </a:r>
            <a:r>
              <a:rPr kumimoji="0" lang="en-US" altLang="nl-NL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 : 2017 – 2021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800" b="1" dirty="0"/>
              <a:t>Certification</a:t>
            </a:r>
          </a:p>
          <a:p>
            <a:pPr marL="171450" indent="-171450" eaLnBrk="1" hangingPunct="1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altLang="en-US" sz="800" dirty="0"/>
              <a:t>AWS CP</a:t>
            </a:r>
          </a:p>
          <a:p>
            <a:pPr marL="171450" indent="-171450" eaLnBrk="1" hangingPunct="1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altLang="en-US" sz="800" dirty="0"/>
              <a:t>AZ900, AZ204, AZ104, AZ 400, AZ305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nl-N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nl-NL" sz="1000" dirty="0">
              <a:solidFill>
                <a:prstClr val="black"/>
              </a:solidFill>
              <a:latin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nl-N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C94F82-1F70-49F9-97C8-7F9E746C819C}"/>
              </a:ext>
            </a:extLst>
          </p:cNvPr>
          <p:cNvSpPr txBox="1"/>
          <p:nvPr/>
        </p:nvSpPr>
        <p:spPr>
          <a:xfrm>
            <a:off x="9373386" y="1417822"/>
            <a:ext cx="129634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nl-NL" sz="1050" b="1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kill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2ACB8F81EC8489A4DF17045E90748" ma:contentTypeVersion="7" ma:contentTypeDescription="Create a new document." ma:contentTypeScope="" ma:versionID="14eca6baf0dc776edd3b59ffa3a025ba">
  <xsd:schema xmlns:xsd="http://www.w3.org/2001/XMLSchema" xmlns:xs="http://www.w3.org/2001/XMLSchema" xmlns:p="http://schemas.microsoft.com/office/2006/metadata/properties" xmlns:ns3="fd33c62d-2c11-46e7-88a2-e90fa986d9d0" xmlns:ns4="47da6acf-edf2-43bc-9595-f721a214a14e" targetNamespace="http://schemas.microsoft.com/office/2006/metadata/properties" ma:root="true" ma:fieldsID="5aa4caa8a8c18e5332c88e7cf95cf085" ns3:_="" ns4:_="">
    <xsd:import namespace="fd33c62d-2c11-46e7-88a2-e90fa986d9d0"/>
    <xsd:import namespace="47da6acf-edf2-43bc-9595-f721a214a14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33c62d-2c11-46e7-88a2-e90fa986d9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a6acf-edf2-43bc-9595-f721a214a1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D25D96-23E3-4774-8182-19BEEAF42C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33c62d-2c11-46e7-88a2-e90fa986d9d0"/>
    <ds:schemaRef ds:uri="47da6acf-edf2-43bc-9595-f721a214a1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fd33c62d-2c11-46e7-88a2-e90fa986d9d0"/>
    <ds:schemaRef ds:uri="http://schemas.microsoft.com/office/2006/documentManagement/types"/>
    <ds:schemaRef ds:uri="http://schemas.microsoft.com/office/2006/metadata/properties"/>
    <ds:schemaRef ds:uri="http://purl.org/dc/elements/1.1/"/>
    <ds:schemaRef ds:uri="47da6acf-edf2-43bc-9595-f721a214a14e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741</TotalTime>
  <Words>283</Words>
  <Application>Microsoft Office PowerPoint</Application>
  <PresentationFormat>Widescreen</PresentationFormat>
  <Paragraphs>6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Vinodkumar Pandey, Deviprasad</cp:lastModifiedBy>
  <cp:revision>118</cp:revision>
  <dcterms:created xsi:type="dcterms:W3CDTF">2017-12-08T05:27:40Z</dcterms:created>
  <dcterms:modified xsi:type="dcterms:W3CDTF">2022-11-04T09:3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2ACB8F81EC8489A4DF17045E90748</vt:lpwstr>
  </property>
</Properties>
</file>